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</p:sldMasterIdLst>
  <p:notesMasterIdLst>
    <p:notesMasterId r:id="rId13"/>
  </p:notesMasterIdLst>
  <p:sldIdLst>
    <p:sldId id="256" r:id="rId2"/>
    <p:sldId id="288" r:id="rId3"/>
    <p:sldId id="290" r:id="rId4"/>
    <p:sldId id="291" r:id="rId5"/>
    <p:sldId id="285" r:id="rId6"/>
    <p:sldId id="289" r:id="rId7"/>
    <p:sldId id="269" r:id="rId8"/>
    <p:sldId id="270" r:id="rId9"/>
    <p:sldId id="275" r:id="rId10"/>
    <p:sldId id="277" r:id="rId11"/>
    <p:sldId id="292" r:id="rId12"/>
  </p:sldIdLst>
  <p:sldSz cx="9906000" cy="6858000" type="A4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5880"/>
    <a:srgbClr val="2182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74" autoAdjust="0"/>
    <p:restoredTop sz="94660"/>
  </p:normalViewPr>
  <p:slideViewPr>
    <p:cSldViewPr snapToGrid="0">
      <p:cViewPr varScale="1">
        <p:scale>
          <a:sx n="91" d="100"/>
          <a:sy n="91" d="100"/>
        </p:scale>
        <p:origin x="115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742-48CD-901A-8BE5365C25F5}"/>
                </c:ext>
              </c:extLst>
            </c:dLbl>
            <c:spPr>
              <a:solidFill>
                <a:schemeClr val="bg1"/>
              </a:solidFill>
              <a:ln w="19050">
                <a:solidFill>
                  <a:schemeClr val="tx1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5</c:f>
              <c:strCache>
                <c:ptCount val="14"/>
                <c:pt idx="0">
                  <c:v> </c:v>
                </c:pt>
                <c:pt idx="1">
                  <c:v>Казахстан</c:v>
                </c:pt>
                <c:pt idx="2">
                  <c:v>Китай</c:v>
                </c:pt>
                <c:pt idx="3">
                  <c:v>Узбекистан</c:v>
                </c:pt>
                <c:pt idx="4">
                  <c:v>США</c:v>
                </c:pt>
                <c:pt idx="5">
                  <c:v>Бразилия</c:v>
                </c:pt>
                <c:pt idx="6">
                  <c:v>Кыргызстан</c:v>
                </c:pt>
                <c:pt idx="7">
                  <c:v>Австралия</c:v>
                </c:pt>
                <c:pt idx="8">
                  <c:v>Беларусь</c:v>
                </c:pt>
                <c:pt idx="9">
                  <c:v>Япония</c:v>
                </c:pt>
                <c:pt idx="10">
                  <c:v>Литва</c:v>
                </c:pt>
                <c:pt idx="11">
                  <c:v>Украина</c:v>
                </c:pt>
                <c:pt idx="12">
                  <c:v>Россия</c:v>
                </c:pt>
                <c:pt idx="13">
                  <c:v>Германия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0</c:v>
                </c:pt>
                <c:pt idx="1">
                  <c:v>18.7</c:v>
                </c:pt>
                <c:pt idx="2">
                  <c:v>25.9</c:v>
                </c:pt>
                <c:pt idx="3">
                  <c:v>26</c:v>
                </c:pt>
                <c:pt idx="4">
                  <c:v>31.2</c:v>
                </c:pt>
                <c:pt idx="5">
                  <c:v>31.5</c:v>
                </c:pt>
                <c:pt idx="6">
                  <c:v>34</c:v>
                </c:pt>
                <c:pt idx="7">
                  <c:v>35.1</c:v>
                </c:pt>
                <c:pt idx="8">
                  <c:v>35.4</c:v>
                </c:pt>
                <c:pt idx="9">
                  <c:v>35.5</c:v>
                </c:pt>
                <c:pt idx="10">
                  <c:v>36.4</c:v>
                </c:pt>
                <c:pt idx="11">
                  <c:v>36.6</c:v>
                </c:pt>
                <c:pt idx="12">
                  <c:v>37</c:v>
                </c:pt>
                <c:pt idx="13">
                  <c:v>4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69-4B8A-BCE6-AA066222A8D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61464048"/>
        <c:axId val="261464608"/>
      </c:barChart>
      <c:catAx>
        <c:axId val="261464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61464608"/>
        <c:crosses val="autoZero"/>
        <c:auto val="1"/>
        <c:lblAlgn val="ctr"/>
        <c:lblOffset val="100"/>
        <c:noMultiLvlLbl val="0"/>
      </c:catAx>
      <c:valAx>
        <c:axId val="26146460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6146404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3CD60D-DFAB-4C0F-8F07-1B86E2222998}" type="datetimeFigureOut">
              <a:rPr lang="ru-RU" smtClean="0"/>
              <a:t>03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1243013"/>
            <a:ext cx="4848225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8E4C98-094A-4E48-88F6-E285DE716B6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7442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8E4C98-094A-4E48-88F6-E285DE716B6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6709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oleObject" Target="../embeddings/oleObject1.bin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oleObject" Target="../embeddings/oleObject2.bin"/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8FB4D-211F-4078-8A02-C50F17136C36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1998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F132D-6102-4DEE-B560-065A01F7F12A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2621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6A7E6-5FE0-4F65-B9D6-61DCFC691B50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7854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5419" cy="1629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2" imgW="0" imgH="0" progId="TCLayout.ActiveDocument.1">
                  <p:embed/>
                </p:oleObj>
              </mc:Choice>
              <mc:Fallback>
                <p:oleObj name="think-cell Slide" r:id="rId42" imgW="0" imgH="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19" cy="1629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5419" cy="16298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575" dirty="0">
              <a:solidFill>
                <a:srgbClr val="000000"/>
              </a:solidFill>
              <a:latin typeface="Segoe UI Black" panose="020B0A02040204020203" pitchFamily="34" charset="0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32425" y="78318"/>
            <a:ext cx="315792" cy="10201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ru-RU" sz="663" cap="all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89177" y="565151"/>
            <a:ext cx="9527646" cy="25188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26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326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89177" y="6434667"/>
            <a:ext cx="8881004" cy="124884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63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89177" y="6639984"/>
            <a:ext cx="8881004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/>
          <a:p>
            <a:pPr marL="505323" indent="-505323" defTabSz="742193" eaLnBrk="1" hangingPunct="1">
              <a:tabLst>
                <a:tab pos="522430" algn="l"/>
              </a:tabLst>
              <a:defRPr/>
            </a:pPr>
            <a:r>
              <a:rPr lang="ru-RU" sz="663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89177" y="1374780"/>
            <a:ext cx="4541970" cy="426506"/>
            <a:chOff x="915" y="767"/>
            <a:chExt cx="2686" cy="263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67"/>
              <a:ext cx="2686" cy="2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eaLnBrk="1" hangingPunct="1">
                <a:defRPr/>
              </a:pPr>
              <a:r>
                <a:rPr lang="ru-RU" sz="1326" b="1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pPr eaLnBrk="1" hangingPunct="1">
                <a:defRPr/>
              </a:pPr>
              <a:r>
                <a:rPr lang="ru-RU" sz="1326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9396931" y="334432"/>
            <a:ext cx="319881" cy="162984"/>
            <a:chOff x="8404670" y="285750"/>
            <a:chExt cx="336105" cy="159288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418602" y="285750"/>
              <a:ext cx="322173" cy="12677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742193" eaLnBrk="1" hangingPunct="1">
                <a:buClr>
                  <a:srgbClr val="002960"/>
                </a:buClr>
                <a:defRPr/>
              </a:pPr>
              <a:r>
                <a:rPr lang="ru-RU" sz="663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</p:spPr>
        </p:cxnSp>
      </p:grpSp>
      <p:sp>
        <p:nvSpPr>
          <p:cNvPr id="16" name="SlideBottomBar" hidden="1"/>
          <p:cNvSpPr/>
          <p:nvPr/>
        </p:nvSpPr>
        <p:spPr>
          <a:xfrm>
            <a:off x="9405542" y="6455833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26" dirty="0">
              <a:solidFill>
                <a:schemeClr val="tx1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8339268" y="277284"/>
            <a:ext cx="1058465" cy="735193"/>
            <a:chOff x="7607284" y="279400"/>
            <a:chExt cx="957264" cy="720646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7289"/>
              <a:ext cx="45727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2862"/>
              <a:ext cx="45727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957"/>
              <a:ext cx="45727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8769" y="279400"/>
              <a:ext cx="395779" cy="1749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8769" y="547047"/>
              <a:ext cx="395779" cy="1749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8769" y="825068"/>
              <a:ext cx="395779" cy="1749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679790" y="277284"/>
            <a:ext cx="717946" cy="1022350"/>
            <a:chOff x="5894005" y="919828"/>
            <a:chExt cx="649289" cy="1001199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6775"/>
              <a:ext cx="164865" cy="1616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6249"/>
              <a:ext cx="164865" cy="16168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7796"/>
              <a:ext cx="164865" cy="16168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59343"/>
              <a:ext cx="164865" cy="16168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ru-RU" sz="1326" dirty="0">
                <a:latin typeface="+mn-lt"/>
                <a:ea typeface="+mn-ea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7523" y="919828"/>
              <a:ext cx="395771" cy="1748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7523" y="1189302"/>
              <a:ext cx="395771" cy="1748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7523" y="1460848"/>
              <a:ext cx="395771" cy="1748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7523" y="1732396"/>
              <a:ext cx="395771" cy="1748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8605837" y="279401"/>
            <a:ext cx="791896" cy="1339063"/>
            <a:chOff x="5894005" y="2696542"/>
            <a:chExt cx="715970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91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91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9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9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3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3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ru-RU" sz="132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314" y="2696542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4314" y="2974578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4314" y="3248465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4314" y="3522351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4314" y="3796238"/>
              <a:ext cx="395661" cy="17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742193" eaLnBrk="1" hangingPunct="1">
                <a:buClr>
                  <a:schemeClr val="tx2"/>
                </a:buClr>
                <a:defRPr/>
              </a:pPr>
              <a:r>
                <a:rPr lang="ru-RU" sz="116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2151460" y="1731434"/>
            <a:ext cx="1685396" cy="1555751"/>
          </a:xfrm>
          <a:prstGeom prst="ellipse">
            <a:avLst/>
          </a:prstGeom>
          <a:solidFill>
            <a:schemeClr val="accent1"/>
          </a:solidFill>
        </p:spPr>
        <p:txBody>
          <a:bodyPr lIns="29844" tIns="29844" rIns="29844" bIns="2984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defRPr/>
            </a:pPr>
            <a:r>
              <a:rPr lang="en-US" sz="1326" dirty="0">
                <a:ea typeface="+mn-ea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970999" y="1731434"/>
            <a:ext cx="1685396" cy="1555751"/>
          </a:xfrm>
          <a:prstGeom prst="rect">
            <a:avLst/>
          </a:prstGeom>
          <a:solidFill>
            <a:schemeClr val="accent1"/>
          </a:solidFill>
        </p:spPr>
        <p:txBody>
          <a:bodyPr lIns="59688" tIns="59688" rIns="59688" bIns="59688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defRPr/>
            </a:pPr>
            <a:r>
              <a:rPr lang="en-US" sz="1326" dirty="0">
                <a:ea typeface="+mn-ea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843852" y="1731434"/>
            <a:ext cx="1687116" cy="1555751"/>
          </a:xfrm>
          <a:prstGeom prst="roundRect">
            <a:avLst/>
          </a:prstGeom>
          <a:solidFill>
            <a:schemeClr val="accent1"/>
          </a:solidFill>
        </p:spPr>
        <p:txBody>
          <a:bodyPr lIns="59688" tIns="59688" rIns="59688" bIns="59688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defRPr/>
            </a:pPr>
            <a:r>
              <a:rPr lang="en-US" sz="1326" dirty="0">
                <a:ea typeface="+mn-ea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2151460" y="4525434"/>
            <a:ext cx="2022475" cy="93133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59688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lang="en-US" sz="1326" dirty="0">
                <a:ea typeface="+mn-ea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270493" y="3119174"/>
            <a:ext cx="3153833" cy="37835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9688" tIns="59688" rIns="59688" bIns="59688" anchor="ctr"/>
          <a:lstStyle/>
          <a:p>
            <a:pPr eaLnBrk="1" hangingPunct="1">
              <a:defRPr/>
            </a:pPr>
            <a:endParaRPr lang="en-US" sz="1326" dirty="0">
              <a:latin typeface="+mn-lt"/>
              <a:ea typeface="+mn-ea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586803" y="3539067"/>
            <a:ext cx="211535" cy="168486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26" baseline="30000" dirty="0"/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063185" y="3539068"/>
            <a:ext cx="280326" cy="258233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326" dirty="0">
                <a:solidFill>
                  <a:schemeClr val="tx1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326" dirty="0"/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369992" y="4699000"/>
            <a:ext cx="386953" cy="814917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59688" tIns="59688" rIns="59688" bIns="59688"/>
          <a:lstStyle/>
          <a:p>
            <a:pPr defTabSz="742193" eaLnBrk="1" hangingPunct="1">
              <a:buClr>
                <a:schemeClr val="tx2"/>
              </a:buClr>
              <a:buSzPct val="100000"/>
              <a:defRPr/>
            </a:pPr>
            <a:endParaRPr lang="ru-RU" sz="1326" dirty="0">
              <a:latin typeface="Arial" charset="0"/>
              <a:ea typeface="+mn-ea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922044" y="4699000"/>
            <a:ext cx="588169" cy="814917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9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742193" eaLnBrk="1" hangingPunct="1">
                <a:buClr>
                  <a:schemeClr val="tx2"/>
                </a:buClr>
                <a:buSzPct val="100000"/>
                <a:defRPr/>
              </a:pPr>
              <a:endParaRPr lang="ru-RU" sz="1326" dirty="0">
                <a:latin typeface="Arial" charset="0"/>
                <a:ea typeface="+mn-ea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5" y="1270000"/>
              <a:ext cx="1584887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742193" eaLnBrk="1" hangingPunct="1">
                <a:buClr>
                  <a:schemeClr val="tx2"/>
                </a:buClr>
                <a:buSzPct val="100000"/>
                <a:defRPr/>
              </a:pPr>
              <a:endParaRPr lang="ru-RU" sz="1326" dirty="0">
                <a:latin typeface="Arial" charset="0"/>
                <a:ea typeface="+mn-ea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675312" y="4699000"/>
            <a:ext cx="722313" cy="814917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8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742193" eaLnBrk="1" hangingPunct="1">
                <a:buClr>
                  <a:schemeClr val="tx2"/>
                </a:buClr>
                <a:buSzPct val="100000"/>
                <a:defRPr/>
              </a:pPr>
              <a:endParaRPr lang="ru-RU" sz="1326" dirty="0">
                <a:latin typeface="Arial" charset="0"/>
                <a:ea typeface="+mn-ea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2333" y="1270000"/>
              <a:ext cx="2129624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742193" eaLnBrk="1" hangingPunct="1">
                <a:buClr>
                  <a:schemeClr val="tx2"/>
                </a:buClr>
                <a:buSzPct val="100000"/>
                <a:defRPr/>
              </a:pPr>
              <a:endParaRPr lang="ru-RU" sz="1326" dirty="0">
                <a:latin typeface="Arial" charset="0"/>
                <a:ea typeface="+mn-ea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2153735" y="3538594"/>
            <a:ext cx="202331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326" dirty="0">
                <a:solidFill>
                  <a:schemeClr val="tx1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160" b="1" dirty="0">
                  <a:solidFill>
                    <a:schemeClr val="tx2"/>
                  </a:solidFill>
                  <a:ea typeface="+mn-ea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370446" y="3538594"/>
            <a:ext cx="2022087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326" b="1" dirty="0">
                <a:solidFill>
                  <a:schemeClr val="tx1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160" b="1" dirty="0">
                  <a:solidFill>
                    <a:schemeClr val="tx2"/>
                  </a:solidFill>
                  <a:ea typeface="+mn-ea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326" b="1" dirty="0">
                <a:solidFill>
                  <a:schemeClr val="tx1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160" b="1" dirty="0">
                  <a:solidFill>
                    <a:schemeClr val="tx2"/>
                  </a:solidFill>
                  <a:ea typeface="+mn-ea"/>
                </a:rPr>
                <a:t>Text</a:t>
              </a:r>
            </a:p>
          </p:txBody>
        </p:sp>
      </p:grpSp>
      <p:sp>
        <p:nvSpPr>
          <p:cNvPr id="78" name="Slide Number"/>
          <p:cNvSpPr txBox="1">
            <a:spLocks/>
          </p:cNvSpPr>
          <p:nvPr userDrawn="1"/>
        </p:nvSpPr>
        <p:spPr bwMode="auto">
          <a:xfrm>
            <a:off x="9577520" y="6653472"/>
            <a:ext cx="100990" cy="10002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BB1B4628-2EC3-4A11-90E4-A53895DFBF0C}" type="slidenum">
              <a:rPr lang="ru-RU" altLang="x-none" sz="650" smtClean="0">
                <a:solidFill>
                  <a:srgbClr val="808080"/>
                </a:solidFill>
                <a:latin typeface="Segoe UI Light" panose="020B0502040204020203" pitchFamily="34" charset="0"/>
              </a:rPr>
              <a:pPr eaLnBrk="1" hangingPunct="1">
                <a:defRPr/>
              </a:pPr>
              <a:t>‹#›</a:t>
            </a:fld>
            <a:endParaRPr lang="ru-RU" altLang="x-none" sz="650" dirty="0">
              <a:solidFill>
                <a:srgbClr val="808080"/>
              </a:solidFill>
              <a:latin typeface="Segoe UI Light" panose="020B0502040204020203" pitchFamily="34" charset="0"/>
            </a:endParaRPr>
          </a:p>
        </p:txBody>
      </p:sp>
      <p:graphicFrame>
        <p:nvGraphicFramePr>
          <p:cNvPr id="79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43" imgW="0" imgH="0" progId="TCLayout.ActiveDocument.1">
                  <p:embed/>
                </p:oleObj>
              </mc:Choice>
              <mc:Fallback>
                <p:oleObj name="think-cell Slide" r:id="rId43" imgW="0" imgH="0" progId="TCLayout.ActiveDocument.1">
                  <p:embed/>
                  <p:pic>
                    <p:nvPicPr>
                      <p:cNvPr id="79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2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75419" cy="16298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575" dirty="0">
              <a:solidFill>
                <a:schemeClr val="tx1"/>
              </a:solidFill>
              <a:latin typeface="Segoe UI Black" panose="020B0A02040204020203" pitchFamily="34" charset="0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1" name="Slide Number"/>
          <p:cNvSpPr txBox="1">
            <a:spLocks/>
          </p:cNvSpPr>
          <p:nvPr userDrawn="1"/>
        </p:nvSpPr>
        <p:spPr bwMode="auto">
          <a:xfrm>
            <a:off x="9577520" y="6653472"/>
            <a:ext cx="100990" cy="10002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BF3E8C92-D038-4A4C-8203-E3C1245C17BD}" type="slidenum">
              <a:rPr lang="ru-RU" altLang="x-none" sz="650" smtClean="0">
                <a:solidFill>
                  <a:srgbClr val="808080"/>
                </a:solidFill>
                <a:latin typeface="Segoe UI Light" panose="020B0502040204020203" pitchFamily="34" charset="0"/>
              </a:rPr>
              <a:pPr eaLnBrk="1" hangingPunct="1">
                <a:defRPr/>
              </a:pPr>
              <a:t>‹#›</a:t>
            </a:fld>
            <a:endParaRPr lang="ru-RU" altLang="x-none" sz="650" dirty="0">
              <a:solidFill>
                <a:srgbClr val="808080"/>
              </a:solidFill>
              <a:latin typeface="Segoe UI Light" panose="020B0502040204020203" pitchFamily="34" charset="0"/>
            </a:endParaRPr>
          </a:p>
        </p:txBody>
      </p:sp>
      <p:sp>
        <p:nvSpPr>
          <p:cNvPr id="82" name="doc id" hidden="1"/>
          <p:cNvSpPr>
            <a:spLocks noChangeArrowheads="1"/>
          </p:cNvSpPr>
          <p:nvPr userDrawn="1"/>
        </p:nvSpPr>
        <p:spPr bwMode="auto">
          <a:xfrm>
            <a:off x="8934319" y="50801"/>
            <a:ext cx="725752" cy="12488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742193" eaLnBrk="1" hangingPunct="1">
              <a:defRPr/>
            </a:pPr>
            <a:endParaRPr lang="ru-RU" sz="663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89524" y="190011"/>
            <a:ext cx="9526956" cy="2983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3887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78F60-529D-4986-BA49-81796303C6F1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1667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39CA-8AB5-44B1-A977-3CC2F4EC587F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3492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C68FD-B8A4-4F86-9212-BAE1F350365F}" type="datetime1">
              <a:rPr lang="ru-RU" smtClean="0"/>
              <a:t>03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4393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C78B8-1FE0-4C4B-998E-700EEA623355}" type="datetime1">
              <a:rPr lang="ru-RU" smtClean="0"/>
              <a:t>03.05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1278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EE242-5C00-4D1C-A1C8-035DB6D42984}" type="datetime1">
              <a:rPr lang="ru-RU" smtClean="0"/>
              <a:t>03.05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86085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C01564-76CE-4B79-A392-DCCF141573E7}" type="datetime1">
              <a:rPr lang="ru-RU" smtClean="0"/>
              <a:t>03.05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35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8DAC33-03F5-461F-827C-B131066A4F9B}" type="datetime1">
              <a:rPr lang="ru-RU" smtClean="0"/>
              <a:t>03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9476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A367D-9E32-4818-B9C8-87D543B35672}" type="datetime1">
              <a:rPr lang="ru-RU" smtClean="0"/>
              <a:t>03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3497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933B61-3AB8-425F-839F-4E8206E8F983}" type="datetime1">
              <a:rPr lang="ru-RU" smtClean="0"/>
              <a:t>03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97CE4D-4D49-4395-B4EF-C453F25319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5182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 txBox="1">
            <a:spLocks/>
          </p:cNvSpPr>
          <p:nvPr/>
        </p:nvSpPr>
        <p:spPr bwMode="auto">
          <a:xfrm>
            <a:off x="297834" y="2753776"/>
            <a:ext cx="9161063" cy="86177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ы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гінде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сын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зірлеуде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тын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дер</a:t>
            </a:r>
            <a:r>
              <a:rPr lang="ru-RU" sz="2800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endParaRPr lang="ru-RU" sz="2800" i="1" kern="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ubtitle 1"/>
          <p:cNvSpPr txBox="1">
            <a:spLocks/>
          </p:cNvSpPr>
          <p:nvPr/>
        </p:nvSpPr>
        <p:spPr>
          <a:xfrm>
            <a:off x="0" y="6480397"/>
            <a:ext cx="9906000" cy="2251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defRPr/>
            </a:pPr>
            <a:r>
              <a:rPr lang="ru-RU" sz="1463" kern="0" dirty="0">
                <a:latin typeface="Arial" panose="020B0604020202020204" pitchFamily="34" charset="0"/>
                <a:cs typeface="Arial" panose="020B0604020202020204" pitchFamily="34" charset="0"/>
              </a:rPr>
              <a:t>2023 г.</a:t>
            </a:r>
          </a:p>
        </p:txBody>
      </p:sp>
      <p:sp>
        <p:nvSpPr>
          <p:cNvPr id="6" name="Subtitle 1"/>
          <p:cNvSpPr txBox="1">
            <a:spLocks/>
          </p:cNvSpPr>
          <p:nvPr/>
        </p:nvSpPr>
        <p:spPr>
          <a:xfrm>
            <a:off x="-45837" y="450622"/>
            <a:ext cx="9906000" cy="3000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defRPr/>
            </a:pPr>
            <a:r>
              <a:rPr lang="kk-KZ" sz="195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ҚР ҰЛТТЫҚ ЭКОНОМИКА МИНИСТРЛІГІ</a:t>
            </a:r>
            <a:endParaRPr lang="ru-RU" sz="195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D797B556-91EA-49B2-B8B6-22215D274621}"/>
              </a:ext>
            </a:extLst>
          </p:cNvPr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15476" y="837788"/>
            <a:ext cx="925781" cy="97649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68662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9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107950" y="98425"/>
            <a:ext cx="9798050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58775">
              <a:defRPr/>
            </a:pPr>
            <a:r>
              <a:rPr lang="ru-RU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Н-САЛТАНАТ  </a:t>
            </a:r>
            <a:r>
              <a:rPr lang="ru-RU" sz="2000" b="1" kern="0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ҒА САЛЫҚ САЛУ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82"/>
          <p:cNvGrpSpPr>
            <a:grpSpLocks/>
          </p:cNvGrpSpPr>
          <p:nvPr/>
        </p:nvGrpSpPr>
        <p:grpSpPr bwMode="auto">
          <a:xfrm>
            <a:off x="238796" y="935478"/>
            <a:ext cx="4063329" cy="260071"/>
            <a:chOff x="124826" y="626481"/>
            <a:chExt cx="4062525" cy="261639"/>
          </a:xfrm>
        </p:grpSpPr>
        <p:cxnSp>
          <p:nvCxnSpPr>
            <p:cNvPr id="6" name="AutoShape 249"/>
            <p:cNvCxnSpPr>
              <a:cxnSpLocks noChangeShapeType="1"/>
            </p:cNvCxnSpPr>
            <p:nvPr/>
          </p:nvCxnSpPr>
          <p:spPr bwMode="gray">
            <a:xfrm>
              <a:off x="124826" y="888120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TextBox 89"/>
            <p:cNvSpPr txBox="1">
              <a:spLocks/>
            </p:cNvSpPr>
            <p:nvPr/>
          </p:nvSpPr>
          <p:spPr bwMode="gray">
            <a:xfrm>
              <a:off x="174945" y="626481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СЫНЫСТАР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92"/>
          <p:cNvGrpSpPr>
            <a:grpSpLocks/>
          </p:cNvGrpSpPr>
          <p:nvPr/>
        </p:nvGrpSpPr>
        <p:grpSpPr bwMode="auto">
          <a:xfrm>
            <a:off x="5353253" y="923060"/>
            <a:ext cx="4025181" cy="276045"/>
            <a:chOff x="4674658" y="604409"/>
            <a:chExt cx="4025514" cy="276045"/>
          </a:xfrm>
        </p:grpSpPr>
        <p:sp>
          <p:nvSpPr>
            <p:cNvPr id="9" name="TextBox 94"/>
            <p:cNvSpPr txBox="1">
              <a:spLocks/>
            </p:cNvSpPr>
            <p:nvPr/>
          </p:nvSpPr>
          <p:spPr bwMode="gray">
            <a:xfrm>
              <a:off x="4674658" y="604409"/>
              <a:ext cx="3997655" cy="26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kk-KZ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ГІЗДЕМЕ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" name="AutoShape 249"/>
            <p:cNvCxnSpPr>
              <a:cxnSpLocks noChangeShapeType="1"/>
            </p:cNvCxnSpPr>
            <p:nvPr/>
          </p:nvCxnSpPr>
          <p:spPr bwMode="gray">
            <a:xfrm>
              <a:off x="4702517" y="880454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" name="Прямоугольник 10"/>
          <p:cNvSpPr/>
          <p:nvPr/>
        </p:nvSpPr>
        <p:spPr>
          <a:xfrm>
            <a:off x="-7499" y="1026432"/>
            <a:ext cx="4957516" cy="4793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Яхталарға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,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ек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ұшақтарға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арналғ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көл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ұралдарын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мөлшерлемесі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көтеру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1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ұн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50 млн.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теңгед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асаты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автомобильдер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оғар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салу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еке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тұлға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3-тен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астам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пәтер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(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үй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),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ер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учаскелер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(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мүл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учаскелер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алаңы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байланыстыр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отырып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)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болға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кез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оғар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салу</a:t>
            </a: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ымбат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алкоголь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ән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темек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өнімдерін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осымш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акциз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defRPr/>
            </a:pPr>
            <a:endParaRPr lang="ru-RU" sz="1600" b="1" i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ru-RU" sz="3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927402" y="1326733"/>
            <a:ext cx="4849026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хтал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шақт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еул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дар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бында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ЖТ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ігінде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0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хта, ЗТ – 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6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яхта; ЖТ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ігінде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8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шақ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ЗТ – 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65)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жірибед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мбат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ктер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іне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қатты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д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қайсысында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неш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р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объект) бар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ейбі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алкоголь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німдер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ұн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ірлігі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5-6 млн.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еңге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дей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ет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ұл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ретт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ондағ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кцизд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лес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шамалы</a:t>
            </a:r>
            <a:r>
              <a:rPr lang="ru-RU" sz="12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300-700 </a:t>
            </a:r>
            <a:r>
              <a:rPr lang="ru-RU" sz="12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2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2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V="1">
            <a:off x="4950017" y="99066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4"/>
          <p:cNvCxnSpPr>
            <a:cxnSpLocks/>
          </p:cNvCxnSpPr>
          <p:nvPr/>
        </p:nvCxnSpPr>
        <p:spPr>
          <a:xfrm flipV="1">
            <a:off x="59415" y="2482788"/>
            <a:ext cx="9614023" cy="750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238796" y="3623296"/>
            <a:ext cx="9537707" cy="1980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4"/>
          <p:cNvCxnSpPr>
            <a:cxnSpLocks/>
          </p:cNvCxnSpPr>
          <p:nvPr/>
        </p:nvCxnSpPr>
        <p:spPr>
          <a:xfrm>
            <a:off x="107950" y="5225363"/>
            <a:ext cx="9486899" cy="396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58233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10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107950" y="98425"/>
            <a:ext cx="9798050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58775">
              <a:defRPr/>
            </a:pPr>
            <a:r>
              <a:rPr lang="kk-KZ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ҚА АЛЫНҒАН </a:t>
            </a:r>
            <a:r>
              <a:rPr lang="kk-KZ" sz="2000" b="1" kern="0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 </a:t>
            </a:r>
            <a:r>
              <a:rPr lang="kk-KZ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ЛЕР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7950" y="1026432"/>
            <a:ext cx="940891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еңілдіктерінің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иімділігін арттыру</a:t>
            </a:r>
            <a:endParaRPr lang="kk-KZ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еке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ұлғаларға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 салуды қайта қарау</a:t>
            </a:r>
            <a:endParaRPr lang="kk-KZ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ТС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йынша шегерімдердің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олыққанды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жүйесі</a:t>
            </a:r>
            <a:endParaRPr lang="kk-KZ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АЭО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еңберінде темекіге </a:t>
            </a: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кциздер мөлшерлемесін үйлестіру</a:t>
            </a:r>
          </a:p>
          <a:p>
            <a:pPr marL="360000" marR="31115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ru-RU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ұмыс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ындар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ұр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айт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өңде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уаттар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ындары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әлеуметт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ндеттемелер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ында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йырбаст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йдал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атт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азбалар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өндір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нтабельд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мес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аң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обала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үктемес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өмендету</a:t>
            </a:r>
            <a:endParaRPr lang="kk-KZ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ru-RU" sz="11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0971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244474" y="255588"/>
            <a:ext cx="981392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122">
              <a:tabLst>
                <a:tab pos="206508" algn="l"/>
              </a:tabLst>
              <a:defRPr/>
            </a:pP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ШЫСЫНЫҢ ҚАЗАҚСТАН ХАЛҚЫНА ЖОЛДАУЫ</a:t>
            </a:r>
            <a:endParaRPr lang="x-none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21">
            <a:extLst>
              <a:ext uri="{FF2B5EF4-FFF2-40B4-BE49-F238E27FC236}">
                <a16:creationId xmlns:a16="http://schemas.microsoft.com/office/drawing/2014/main" id="{6498170D-9458-40BB-8F18-1CF7502FD17D}"/>
              </a:ext>
            </a:extLst>
          </p:cNvPr>
          <p:cNvGrpSpPr/>
          <p:nvPr/>
        </p:nvGrpSpPr>
        <p:grpSpPr>
          <a:xfrm>
            <a:off x="2382719" y="1147637"/>
            <a:ext cx="559362" cy="596002"/>
            <a:chOff x="-17517" y="2382851"/>
            <a:chExt cx="592080" cy="596002"/>
          </a:xfrm>
        </p:grpSpPr>
        <p:sp>
          <p:nvSpPr>
            <p:cNvPr id="7" name="Oval 118">
              <a:extLst>
                <a:ext uri="{FF2B5EF4-FFF2-40B4-BE49-F238E27FC236}">
                  <a16:creationId xmlns:a16="http://schemas.microsoft.com/office/drawing/2014/main" id="{18FD470E-0CD3-4D72-BD47-905EC0A4E48B}"/>
                </a:ext>
              </a:extLst>
            </p:cNvPr>
            <p:cNvSpPr/>
            <p:nvPr/>
          </p:nvSpPr>
          <p:spPr>
            <a:xfrm>
              <a:off x="-17517" y="2382851"/>
              <a:ext cx="592080" cy="596002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F9C61B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pic>
          <p:nvPicPr>
            <p:cNvPr id="8" name="Picture 1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3B1009F8-E0A4-438E-9A01-5D4648D45D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522" y="2452039"/>
              <a:ext cx="360000" cy="360000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2FF8706-B89E-4D46-AD8E-12986D4ED8FF}"/>
              </a:ext>
            </a:extLst>
          </p:cNvPr>
          <p:cNvSpPr txBox="1"/>
          <p:nvPr/>
        </p:nvSpPr>
        <p:spPr>
          <a:xfrm>
            <a:off x="3051708" y="969252"/>
            <a:ext cx="6726156" cy="49675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 defTabSz="690477" fontAlgn="base"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ӘДІЛЕТТІ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. БІРТҰТАС ҰЛТ. БЕРЕКЕЛІ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ҒАМ</a:t>
            </a:r>
            <a:r>
              <a:rPr lang="ru-RU" sz="16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МЛЕКЕТ БАСШЫСЫНЫҢ 2022 </a:t>
            </a:r>
            <a:r>
              <a:rPr lang="ru-RU" sz="16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sz="16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ркүйектегі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АЗАҚСТАН ХАЛҚЫНА ЖОЛДАУЫ.</a:t>
            </a:r>
            <a:endParaRPr lang="ru-RU" sz="1600" b="1" noProof="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690477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«…</a:t>
            </a:r>
          </a:p>
          <a:p>
            <a:pPr lvl="0" algn="just" defTabSz="690477" fontAlgn="base"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Үшінші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Экономиканың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тұрақты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өсуі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ясатының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үсінікті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болжауға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болатындай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етіп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үргізілуіне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тікелей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algn="just" defTabSz="690477" fontAlgn="base"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Фискалды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ісі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аңғырт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әзірленеді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үйткілді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ұсы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саналатын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әкімшілендіру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мәселесі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үгел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жазылуға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иіс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algn="just" defTabSz="690477" fontAlgn="base"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арысынд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етпе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-бет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кездес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мүлдем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олмайтындай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етіп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олық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цифрландыру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ерек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ағы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асымдық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шараларының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Ол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экономиканың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түрлі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д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дифференциалды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лемесіне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көшке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өн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айданың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ехнологиялық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жаңғыруға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ғылыми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әзірлемелерге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ұмсалға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өлігіне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тивті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ғын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тәсілі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ерек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төлеушілерді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та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алтаруғ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ұмарлығы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арнайы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режімдерін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ет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керек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үктемесі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ұйымдарды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әдейі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бөлшектеуге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бермеу</a:t>
            </a:r>
            <a:r>
              <a:rPr lang="ru-RU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мәселесі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кодексте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арастырылуы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ажет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ауда-саттық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зама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талабын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й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дамуы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лемесі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ойғ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онымды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рәсімдері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арапайым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өлшек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ғы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аясы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кеңейту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ерек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реформасы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аясынд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ән-салтанатқа</a:t>
            </a:r>
            <a:r>
              <a:rPr lang="ru-RU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алуды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енгізге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ө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Мұның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орта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тапқа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атысы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тек аса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қымбат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ылжымайты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автокөлік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алған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салынады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algn="just" defTabSz="690477" fontAlgn="base"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endParaRPr lang="ru-RU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r" defTabSz="690477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..</a:t>
            </a:r>
            <a:r>
              <a:rPr lang="ru-RU" sz="1200" b="1" i="1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kumimoji="0" lang="ru-RU" sz="12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3" descr="C:\Users\kazbekov_e\Downloads\dsc-8977-24_mediumThumb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1" r="19846" b="6928"/>
          <a:stretch/>
        </p:blipFill>
        <p:spPr bwMode="auto">
          <a:xfrm>
            <a:off x="0" y="1078773"/>
            <a:ext cx="2237970" cy="215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669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2</a:t>
            </a:fld>
            <a:endParaRPr lang="ru-RU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64921" y="255588"/>
            <a:ext cx="964108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122">
              <a:tabLst>
                <a:tab pos="206508" algn="l"/>
              </a:tabLst>
              <a:defRPr/>
            </a:pPr>
            <a:r>
              <a:rPr lang="ru-RU" sz="200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Ө </a:t>
            </a:r>
            <a:r>
              <a:rPr lang="ru-RU" sz="2000" b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ДІ САЛЫСТЫРМАЛЫ ТАЛДАУ</a:t>
            </a:r>
            <a:endParaRPr lang="x-none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Диаграмма 5"/>
          <p:cNvGraphicFramePr/>
          <p:nvPr>
            <p:extLst/>
          </p:nvPr>
        </p:nvGraphicFramePr>
        <p:xfrm>
          <a:off x="264921" y="1147637"/>
          <a:ext cx="8960042" cy="4484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Рисунок 49" descr="kazakhstan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188" y="4677263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45" descr="china_64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462" y="4684933"/>
            <a:ext cx="344487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46" descr="uzbekistan_64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962" y="4674190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398" y="4683612"/>
            <a:ext cx="250389" cy="26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51" descr="united_states_of_america_64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6461" y="4677263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48" descr="kyrgyzstan_640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441" y="4681304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5"/>
          <p:cNvPicPr>
            <a:picLocks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45169" y="4732155"/>
            <a:ext cx="229917" cy="17415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Рисунок 44" descr="lithuania_640 (1)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764" y="4680880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53" descr="australia_640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0170" y="4681303"/>
            <a:ext cx="346075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Рисунок 55" descr="belarus_640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037" y="4686815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59" descr="ukraine_640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653" y="4670654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Рисунок 56" descr="germany_640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4289" y="4652369"/>
            <a:ext cx="3556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Рисунок 54" descr="russia_640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9963" y="4667732"/>
            <a:ext cx="3460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483531" y="6356352"/>
            <a:ext cx="174438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050" kern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ХВҚ </a:t>
            </a:r>
            <a:r>
              <a:rPr lang="ru-RU" sz="105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уы</a:t>
            </a:r>
            <a:r>
              <a:rPr lang="ru-RU" sz="105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16963" y="1040798"/>
            <a:ext cx="5928206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b="1" kern="0" dirty="0" err="1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оғырландырылған</a:t>
            </a:r>
            <a:r>
              <a:rPr lang="ru-RU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 </a:t>
            </a:r>
            <a:r>
              <a:rPr lang="ru-RU" b="1" kern="0" dirty="0" err="1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і</a:t>
            </a:r>
            <a:r>
              <a:rPr lang="ru-RU" b="1" kern="0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  <a:r>
              <a:rPr lang="ru-RU" sz="2160" b="1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lang="ru-RU" sz="2160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b="1" i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Ө-</a:t>
            </a:r>
            <a:r>
              <a:rPr lang="ru-RU" sz="1400" b="1" i="1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lang="ru-RU" sz="1400" b="1" i="1" kern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*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309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5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3795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103" y="308248"/>
            <a:ext cx="9606896" cy="362407"/>
          </a:xfrm>
        </p:spPr>
        <p:txBody>
          <a:bodyPr wrap="square">
            <a:spAutoFit/>
          </a:bodyPr>
          <a:lstStyle/>
          <a:p>
            <a:pPr defTabSz="742193">
              <a:tabLst>
                <a:tab pos="223710" algn="l"/>
              </a:tabLst>
              <a:defRPr/>
            </a:pPr>
            <a:r>
              <a:rPr lang="ru-RU" sz="195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 </a:t>
            </a:r>
            <a:r>
              <a:rPr lang="ru-RU" sz="1950" b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</a:t>
            </a:r>
            <a:r>
              <a:rPr lang="ru-RU" sz="195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ЛЕРІН </a:t>
            </a:r>
            <a:r>
              <a:rPr lang="ru-RU" sz="1950" b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СТЫРМАЛЫ ТАЛДАУ</a:t>
            </a:r>
            <a:endParaRPr lang="x-none" sz="19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Rectangle 137" hidden="1"/>
          <p:cNvSpPr/>
          <p:nvPr/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160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216728"/>
              </p:ext>
            </p:extLst>
          </p:nvPr>
        </p:nvGraphicFramePr>
        <p:xfrm>
          <a:off x="124355" y="1007894"/>
          <a:ext cx="9403098" cy="553723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83098">
                  <a:extLst>
                    <a:ext uri="{9D8B030D-6E8A-4147-A177-3AD203B41FA5}">
                      <a16:colId xmlns:a16="http://schemas.microsoft.com/office/drawing/2014/main" val="1186068986"/>
                    </a:ext>
                  </a:extLst>
                </a:gridCol>
                <a:gridCol w="2772000">
                  <a:extLst>
                    <a:ext uri="{9D8B030D-6E8A-4147-A177-3AD203B41FA5}">
                      <a16:colId xmlns:a16="http://schemas.microsoft.com/office/drawing/2014/main" val="1481327539"/>
                    </a:ext>
                  </a:extLst>
                </a:gridCol>
                <a:gridCol w="2124000">
                  <a:extLst>
                    <a:ext uri="{9D8B030D-6E8A-4147-A177-3AD203B41FA5}">
                      <a16:colId xmlns:a16="http://schemas.microsoft.com/office/drawing/2014/main" val="3588383417"/>
                    </a:ext>
                  </a:extLst>
                </a:gridCol>
                <a:gridCol w="2124000">
                  <a:extLst>
                    <a:ext uri="{9D8B030D-6E8A-4147-A177-3AD203B41FA5}">
                      <a16:colId xmlns:a16="http://schemas.microsoft.com/office/drawing/2014/main" val="70105839"/>
                    </a:ext>
                  </a:extLst>
                </a:gridCol>
              </a:tblGrid>
              <a:tr h="379459">
                <a:tc>
                  <a:txBody>
                    <a:bodyPr/>
                    <a:lstStyle/>
                    <a:p>
                      <a:pPr algn="ctr" fontAlgn="b"/>
                      <a:r>
                        <a:rPr lang="kk-KZ" sz="1400" b="1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лдер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400" b="1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ҚС мөлшерлемесі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400" b="1" i="0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ТС мөлшерлемесі </a:t>
                      </a:r>
                    </a:p>
                    <a:p>
                      <a:pPr algn="ctr" fontAlgn="b"/>
                      <a:r>
                        <a:rPr lang="kk-KZ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табыс салығы)</a:t>
                      </a:r>
                      <a:endParaRPr lang="ru-RU" sz="1100" b="0" i="1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ТС </a:t>
                      </a:r>
                      <a:r>
                        <a:rPr lang="ru-RU" sz="1400" b="1" i="0" u="none" strike="noStrike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сі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313175"/>
                  </a:ext>
                </a:extLst>
              </a:tr>
              <a:tr h="3288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9219549"/>
                  </a:ext>
                </a:extLst>
              </a:tr>
              <a:tr h="22127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тай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-4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916155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бекстан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-22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-22,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049921"/>
                  </a:ext>
                </a:extLst>
              </a:tr>
              <a:tr h="70523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Ш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-5%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ru-RU" sz="1400" b="0" i="0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ҚС </a:t>
                      </a:r>
                      <a:r>
                        <a:rPr lang="ru-RU" sz="1100" b="0" i="1" u="none" strike="noStrike" baseline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қ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ҚҚС </a:t>
                      </a:r>
                      <a:r>
                        <a:rPr lang="ru-RU" sz="1100" b="0" i="1" u="none" strike="noStrike" baseline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нына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1" u="none" strike="noStrike" baseline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дан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1" u="none" strike="noStrike" baseline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ынатын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1" u="none" strike="noStrike" baseline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1" u="none" strike="noStrike" baseline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лданылады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kk-KZ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С</a:t>
                      </a:r>
                      <a:r>
                        <a:rPr lang="ru-RU" sz="1100" b="0" i="1" u="none" strike="noStrike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100" b="0" i="1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-4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4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472727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разил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-27,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8882678"/>
                  </a:ext>
                </a:extLst>
              </a:tr>
              <a:tr h="3288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рғызстан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50603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страл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ҚҚС </a:t>
                      </a:r>
                      <a:r>
                        <a:rPr kumimoji="0" lang="ru-RU" sz="11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қ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1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С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1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лданылады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-4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302649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арусь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149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</a:t>
                      </a:r>
                      <a:r>
                        <a:rPr lang="ru-RU" sz="1400" u="none" strike="noStrike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н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ҚҚС </a:t>
                      </a:r>
                      <a:r>
                        <a:rPr kumimoji="0" lang="ru-RU" sz="11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қ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1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С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1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лданылады</a:t>
                      </a:r>
                      <a:r>
                        <a:rPr kumimoji="0" lang="ru-RU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-4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-4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590903"/>
                  </a:ext>
                </a:extLst>
              </a:tr>
              <a:tr h="22127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тва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928064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раина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439691"/>
                  </a:ext>
                </a:extLst>
              </a:tr>
              <a:tr h="3288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998695"/>
                  </a:ext>
                </a:extLst>
              </a:tr>
              <a:tr h="4364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рмания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,2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45%</a:t>
                      </a:r>
                      <a:endParaRPr lang="ru-RU" sz="1400" b="0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0452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5781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4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264919" y="255588"/>
            <a:ext cx="9827664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122">
              <a:tabLst>
                <a:tab pos="206508" algn="l"/>
              </a:tabLst>
              <a:defRPr/>
            </a:pPr>
            <a:r>
              <a:rPr lang="ru-RU" sz="200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ГІЗГІ ТӘСІЛДЕР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Номер слайда 1"/>
          <p:cNvSpPr txBox="1">
            <a:spLocks/>
          </p:cNvSpPr>
          <p:nvPr/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97CE4D-4D49-4395-B4EF-C453F2531993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64919" y="1290633"/>
            <a:ext cx="9408919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ірінші </a:t>
            </a: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әсіл </a:t>
            </a:r>
            <a:r>
              <a:rPr lang="kk-KZ" sz="20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салық </a:t>
            </a:r>
            <a:r>
              <a:rPr lang="kk-KZ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инауды арттыру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kk-KZ" sz="2000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kk-KZ" sz="2000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кінші </a:t>
            </a: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әсіл – </a:t>
            </a:r>
            <a:r>
              <a:rPr lang="kk-KZ" sz="20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үктемені </a:t>
            </a:r>
            <a:r>
              <a:rPr lang="kk-KZ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оғары кірісті салаларға ауыстыру және халықтың бай топтарынан қайтарымды </a:t>
            </a:r>
            <a:r>
              <a:rPr lang="kk-KZ" sz="20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үшейту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endParaRPr lang="kk-KZ" sz="2000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31115" indent="-2857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685800" algn="l"/>
              </a:tabLst>
            </a:pP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Үшінші тәсіл </a:t>
            </a:r>
            <a:r>
              <a:rPr lang="kk-KZ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kk-KZ" sz="20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алықаралық </a:t>
            </a:r>
            <a:r>
              <a:rPr lang="kk-KZ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ктикаға сәйкестік және Қазақстанның халықаралық міндеттемелерін есепке </a:t>
            </a:r>
            <a:r>
              <a:rPr lang="kk-KZ" sz="20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у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2931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5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401651" y="255588"/>
            <a:ext cx="9504349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122">
              <a:tabLst>
                <a:tab pos="206508" algn="l"/>
              </a:tabLst>
              <a:defRPr/>
            </a:pPr>
            <a:r>
              <a:rPr lang="ru-RU" sz="200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НІКТІ </a:t>
            </a:r>
            <a:r>
              <a:rPr lang="ru-RU" sz="2000" b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 </a:t>
            </a:r>
            <a:r>
              <a:rPr lang="ru-RU" sz="200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УҒА БОЛАТЫНДАЙ САЛЫҚ </a:t>
            </a:r>
            <a:r>
              <a:rPr lang="ru-RU" sz="2000" b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Ы</a:t>
            </a:r>
          </a:p>
        </p:txBody>
      </p:sp>
      <p:sp>
        <p:nvSpPr>
          <p:cNvPr id="5" name="Text Placeholder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0388" y="1492250"/>
            <a:ext cx="9461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684213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47638" indent="-146050" defTabSz="684213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349250" indent="-20002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469900" indent="-11747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573088" indent="-98425" defTabSz="6842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0302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4874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19446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4018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Номер слайда 1"/>
          <p:cNvSpPr txBox="1">
            <a:spLocks/>
          </p:cNvSpPr>
          <p:nvPr/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97CE4D-4D49-4395-B4EF-C453F2531993}" type="slidenum">
              <a:rPr lang="ru-RU" smtClean="0"/>
              <a:pPr/>
              <a:t>5</a:t>
            </a:fld>
            <a:endParaRPr lang="ru-RU"/>
          </a:p>
        </p:txBody>
      </p:sp>
      <p:grpSp>
        <p:nvGrpSpPr>
          <p:cNvPr id="54" name="Group 82"/>
          <p:cNvGrpSpPr>
            <a:grpSpLocks/>
          </p:cNvGrpSpPr>
          <p:nvPr/>
        </p:nvGrpSpPr>
        <p:grpSpPr bwMode="auto">
          <a:xfrm>
            <a:off x="263524" y="891694"/>
            <a:ext cx="4038601" cy="281832"/>
            <a:chOff x="149549" y="582435"/>
            <a:chExt cx="4037802" cy="283532"/>
          </a:xfrm>
        </p:grpSpPr>
        <p:cxnSp>
          <p:nvCxnSpPr>
            <p:cNvPr id="55" name="AutoShape 249"/>
            <p:cNvCxnSpPr>
              <a:cxnSpLocks noChangeShapeType="1"/>
            </p:cNvCxnSpPr>
            <p:nvPr/>
          </p:nvCxnSpPr>
          <p:spPr bwMode="gray">
            <a:xfrm>
              <a:off x="149549" y="865967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6" name="TextBox 89"/>
            <p:cNvSpPr txBox="1">
              <a:spLocks/>
            </p:cNvSpPr>
            <p:nvPr/>
          </p:nvSpPr>
          <p:spPr bwMode="gray">
            <a:xfrm>
              <a:off x="174945" y="582435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СЫНЫСТАР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7" name="Group 92"/>
          <p:cNvGrpSpPr>
            <a:grpSpLocks/>
          </p:cNvGrpSpPr>
          <p:nvPr/>
        </p:nvGrpSpPr>
        <p:grpSpPr bwMode="auto">
          <a:xfrm>
            <a:off x="5411708" y="909945"/>
            <a:ext cx="3997324" cy="260071"/>
            <a:chOff x="4728435" y="784602"/>
            <a:chExt cx="3997655" cy="260378"/>
          </a:xfrm>
        </p:grpSpPr>
        <p:sp>
          <p:nvSpPr>
            <p:cNvPr id="58" name="TextBox 94"/>
            <p:cNvSpPr txBox="1">
              <a:spLocks/>
            </p:cNvSpPr>
            <p:nvPr/>
          </p:nvSpPr>
          <p:spPr bwMode="gray">
            <a:xfrm>
              <a:off x="4741308" y="784602"/>
              <a:ext cx="3984781" cy="26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СКЕРТУ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9" name="AutoShape 249"/>
            <p:cNvCxnSpPr>
              <a:cxnSpLocks noChangeShapeType="1"/>
            </p:cNvCxnSpPr>
            <p:nvPr/>
          </p:nvCxnSpPr>
          <p:spPr bwMode="gray">
            <a:xfrm>
              <a:off x="4728435" y="1044980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60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H="1" flipV="1">
            <a:off x="5183033" y="990662"/>
            <a:ext cx="3910" cy="5632329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14"/>
          <p:cNvCxnSpPr>
            <a:cxnSpLocks/>
          </p:cNvCxnSpPr>
          <p:nvPr/>
        </p:nvCxnSpPr>
        <p:spPr>
          <a:xfrm>
            <a:off x="151254" y="2428934"/>
            <a:ext cx="9486899" cy="396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110"/>
          <p:cNvSpPr txBox="1">
            <a:spLocks/>
          </p:cNvSpPr>
          <p:nvPr/>
        </p:nvSpPr>
        <p:spPr bwMode="auto">
          <a:xfrm>
            <a:off x="179997" y="1223671"/>
            <a:ext cx="4927014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0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г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ының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жырымдамасын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у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kk-KZ" alt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 </a:t>
            </a:r>
            <a:r>
              <a:rPr lang="kk-KZ" alt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спарланған өзгерістерді қосу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5288608" y="1197339"/>
            <a:ext cx="44499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kk-KZ" sz="1600" b="1">
                <a:latin typeface="Arial" panose="020B0604020202020204" pitchFamily="34" charset="0"/>
                <a:cs typeface="Arial" panose="020B0604020202020204" pitchFamily="34" charset="0"/>
              </a:rPr>
              <a:t>Салық саясатының болжамдылығы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110"/>
          <p:cNvSpPr txBox="1">
            <a:spLocks/>
          </p:cNvSpPr>
          <p:nvPr/>
        </p:nvSpPr>
        <p:spPr bwMode="auto">
          <a:xfrm>
            <a:off x="151254" y="2794295"/>
            <a:ext cx="4927014" cy="227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marL="179388" indent="-179388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улы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ард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ыңғай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ндіру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ҰЭМ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нындағ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стемелік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сті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шейту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alt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циялық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с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КС 2.0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алу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қа </a:t>
            </a:r>
            <a:r>
              <a:rPr lang="kk-KZ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 туралы </a:t>
            </a: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Заңсыз </a:t>
            </a:r>
            <a:r>
              <a:rPr lang="kk-KZ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 Салық кодексі</a:t>
            </a:r>
            <a:endParaRPr lang="en-US" alt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тінінің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ындағы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істер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ілтемелерд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арту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. б.</a:t>
            </a:r>
            <a:r>
              <a:rPr lang="ru-RU" altLang="ru-RU" sz="1600" b="1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kk-KZ" altLang="ru-RU" sz="16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5288608" y="2772860"/>
            <a:ext cx="44468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үсінікті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заңнамасы</a:t>
            </a:r>
            <a:endParaRPr lang="ru-RU" sz="12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3700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6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384561" y="128187"/>
            <a:ext cx="9521440" cy="61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kk-KZ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МӨЛШЕРЛЕМЕЛЕРІН </a:t>
            </a:r>
            <a:r>
              <a:rPr lang="kk-KZ" sz="2000" b="1" kern="0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АЛАУ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82"/>
          <p:cNvGrpSpPr>
            <a:grpSpLocks/>
          </p:cNvGrpSpPr>
          <p:nvPr/>
        </p:nvGrpSpPr>
        <p:grpSpPr bwMode="auto">
          <a:xfrm>
            <a:off x="288925" y="1091798"/>
            <a:ext cx="4013200" cy="276626"/>
            <a:chOff x="174945" y="783744"/>
            <a:chExt cx="4012406" cy="278294"/>
          </a:xfrm>
        </p:grpSpPr>
        <p:cxnSp>
          <p:nvCxnSpPr>
            <p:cNvPr id="6" name="AutoShape 249"/>
            <p:cNvCxnSpPr>
              <a:cxnSpLocks noChangeShapeType="1"/>
            </p:cNvCxnSpPr>
            <p:nvPr/>
          </p:nvCxnSpPr>
          <p:spPr bwMode="gray">
            <a:xfrm>
              <a:off x="174945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TextBox 89"/>
            <p:cNvSpPr txBox="1">
              <a:spLocks/>
            </p:cNvSpPr>
            <p:nvPr/>
          </p:nvSpPr>
          <p:spPr bwMode="gray">
            <a:xfrm>
              <a:off x="174945" y="783744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СЫНЫСТАР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92"/>
          <p:cNvGrpSpPr>
            <a:grpSpLocks/>
          </p:cNvGrpSpPr>
          <p:nvPr/>
        </p:nvGrpSpPr>
        <p:grpSpPr bwMode="auto">
          <a:xfrm>
            <a:off x="4606183" y="1097316"/>
            <a:ext cx="4798167" cy="282121"/>
            <a:chOff x="4728435" y="843785"/>
            <a:chExt cx="3997656" cy="218253"/>
          </a:xfrm>
        </p:grpSpPr>
        <p:sp>
          <p:nvSpPr>
            <p:cNvPr id="9" name="TextBox 94"/>
            <p:cNvSpPr txBox="1">
              <a:spLocks/>
            </p:cNvSpPr>
            <p:nvPr/>
          </p:nvSpPr>
          <p:spPr bwMode="gray">
            <a:xfrm>
              <a:off x="4728435" y="843785"/>
              <a:ext cx="3997655" cy="2011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СКЕРТУ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" name="AutoShape 249"/>
            <p:cNvCxnSpPr>
              <a:cxnSpLocks noChangeShapeType="1"/>
            </p:cNvCxnSpPr>
            <p:nvPr/>
          </p:nvCxnSpPr>
          <p:spPr bwMode="gray">
            <a:xfrm>
              <a:off x="4728436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13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V="1">
            <a:off x="4518882" y="95622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4"/>
          <p:cNvCxnSpPr>
            <a:cxnSpLocks/>
          </p:cNvCxnSpPr>
          <p:nvPr/>
        </p:nvCxnSpPr>
        <p:spPr>
          <a:xfrm>
            <a:off x="231716" y="3840371"/>
            <a:ext cx="9486899" cy="396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10"/>
          <p:cNvSpPr txBox="1">
            <a:spLocks/>
          </p:cNvSpPr>
          <p:nvPr/>
        </p:nvSpPr>
        <p:spPr bwMode="auto">
          <a:xfrm>
            <a:off x="231716" y="1559470"/>
            <a:ext cx="3998446" cy="2185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 eaLnBrk="1" hangingPunct="1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kk-KZ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ні қарастыру:</a:t>
            </a:r>
          </a:p>
          <a:p>
            <a:pPr marL="285750" indent="-285750" algn="just" eaLnBrk="1" hangingPunct="1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kk-KZ" altLang="ru-RU" sz="1600" b="1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мөлшерлемесін саралау</a:t>
            </a:r>
          </a:p>
          <a:p>
            <a:pPr marL="0" indent="0" algn="ctr" eaLnBrk="1" hangingPunct="1">
              <a:spcAft>
                <a:spcPts val="1200"/>
              </a:spcAft>
              <a:buClr>
                <a:srgbClr val="0070CE"/>
              </a:buClr>
            </a:pPr>
            <a:r>
              <a:rPr lang="kk-KZ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endParaRPr lang="ru-RU" alt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ның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ым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лары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ге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етін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АШТӨ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(-70%)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қсастығы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altLang="ru-RU" sz="1600" b="1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endParaRPr lang="ru-RU" altLang="ru-RU" sz="16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18882" y="1407354"/>
            <a:ext cx="4927882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indent="-265113" algn="just"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да</a:t>
            </a: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alt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</a:t>
            </a: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МД (17%)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ЫДҰ (19,3%)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ден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мдегі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%)</a:t>
            </a:r>
            <a:endParaRPr lang="ru-RU" alt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5113" indent="-265113" algn="just"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өлшерлемесі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ейде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арусияда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менияда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Қырғызстан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– </a:t>
            </a:r>
            <a:r>
              <a:rPr lang="ru-RU" sz="1100" b="1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12%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,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Өзбекстан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– </a:t>
            </a:r>
            <a:r>
              <a:rPr lang="ru-RU" sz="1100" b="1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15%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,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Дания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және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Норвегия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Испания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,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Латвия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,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Литва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және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Нидерландия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Франция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,6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Германия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%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Әзербайжан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және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Грузияда</a:t>
            </a:r>
            <a:r>
              <a:rPr lang="ru-RU" sz="1100" i="1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–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%</a:t>
            </a:r>
            <a:r>
              <a:rPr lang="ru-RU" sz="1100" i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endParaRPr lang="ru-RU" sz="1100" i="1" dirty="0" smtClean="0">
              <a:solidFill>
                <a:srgbClr val="002060"/>
              </a:solidFill>
              <a:latin typeface="Arial"/>
              <a:cs typeface="Arial" panose="020B0604020202020204" pitchFamily="34" charset="0"/>
            </a:endParaRPr>
          </a:p>
          <a:p>
            <a:pPr marL="265113" indent="-265113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sz="1600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Сараланған</a:t>
            </a:r>
            <a:r>
              <a:rPr lang="ru-RU" sz="1600" dirty="0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мөлшерлемелер</a:t>
            </a:r>
            <a:r>
              <a:rPr lang="ru-RU" sz="1600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бөлек</a:t>
            </a:r>
            <a:r>
              <a:rPr lang="ru-RU" sz="1600" b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салық</a:t>
            </a:r>
            <a:r>
              <a:rPr lang="ru-RU" sz="1600" b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есебін</a:t>
            </a:r>
            <a:r>
              <a:rPr lang="ru-RU" sz="1600" b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жүргізуді</a:t>
            </a:r>
            <a:r>
              <a:rPr lang="ru-RU" sz="1600" b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талап</a:t>
            </a:r>
            <a:r>
              <a:rPr lang="ru-RU" sz="1600" b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етеді</a:t>
            </a:r>
            <a:r>
              <a:rPr lang="ru-RU" sz="1600" b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TextBox 110"/>
          <p:cNvSpPr txBox="1">
            <a:spLocks/>
          </p:cNvSpPr>
          <p:nvPr/>
        </p:nvSpPr>
        <p:spPr bwMode="auto">
          <a:xfrm>
            <a:off x="231716" y="4033675"/>
            <a:ext cx="4055655" cy="1023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а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н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алау</a:t>
            </a:r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alt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зат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лары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alt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ні</a:t>
            </a: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у</a:t>
            </a:r>
            <a:r>
              <a:rPr lang="ru-RU" alt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қтималдығы</a:t>
            </a:r>
            <a:endParaRPr lang="en-US" alt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606183" y="4022638"/>
            <a:ext cx="4953000" cy="2067233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7800" lvl="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Әлемдегі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быс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ғын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өлшерлемесі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: 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lvl="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ҚШ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– 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40%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дейін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Франция – 38%,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пония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– 33%, Германия – 30%, Норвегия – 27%, Канада - 26%, Финляндия – 20%. 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ЕАЭО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емлекеттердегі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КТС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өлшерлемесі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: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Ресейде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– 20%,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лорусияда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– 18%,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ырғызстанда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– 10%,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рменияда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– 20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%</a:t>
            </a:r>
            <a:endParaRPr lang="ru-RU" sz="1400" i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lvl="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збекстандағы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ТС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өлшерлемесі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аға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айланысты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12% - дан 22% - </a:t>
            </a:r>
            <a:r>
              <a:rPr lang="ru-RU" sz="1100" b="1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а</a:t>
            </a:r>
            <a:r>
              <a:rPr lang="ru-RU" sz="1100" b="1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дейін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ұрайды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.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орвегияда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ұнай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ндіруші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омпаниялар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шін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айданың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50%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өлшерінде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рнайы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қ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бар,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Ұлыбританияда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ұнай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мен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газға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32%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осымша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қ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бар,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ытайда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ұнай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ндіруден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0% - дан 40% -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а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дейін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рнайы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быс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11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ғы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бар%</a:t>
            </a:r>
          </a:p>
        </p:txBody>
      </p:sp>
    </p:spTree>
    <p:extLst>
      <p:ext uri="{BB962C8B-B14F-4D97-AF65-F5344CB8AC3E}">
        <p14:creationId xmlns:p14="http://schemas.microsoft.com/office/powerpoint/2010/main" val="38370667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7</a:t>
            </a:fld>
            <a:endParaRPr lang="ru-RU" dirty="0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1162395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504202" y="289980"/>
            <a:ext cx="9135106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>
              <a:defRPr/>
            </a:pPr>
            <a:r>
              <a:rPr lang="ru-RU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ЛЫҚ </a:t>
            </a:r>
            <a:r>
              <a:rPr lang="ru-RU" sz="2000" b="1" kern="0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ҒЫРТУҒА ЖӘНЕ ҒЫЛЫМИ ӘЗІРЛЕМЕЛЕРГЕ БАҒЫТТАЛҒАН </a:t>
            </a:r>
            <a:r>
              <a:rPr lang="ru-RU" sz="2000" b="1" kern="0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ҚА КТС </a:t>
            </a:r>
            <a:r>
              <a:rPr lang="ru-RU" sz="2000" b="1" kern="0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 НЕМЕСЕ ОДАН БОСАТУ ТЕТІКТЕРІ</a:t>
            </a:r>
          </a:p>
        </p:txBody>
      </p:sp>
      <p:grpSp>
        <p:nvGrpSpPr>
          <p:cNvPr id="6" name="Group 82"/>
          <p:cNvGrpSpPr>
            <a:grpSpLocks/>
          </p:cNvGrpSpPr>
          <p:nvPr/>
        </p:nvGrpSpPr>
        <p:grpSpPr bwMode="auto">
          <a:xfrm>
            <a:off x="288925" y="1254169"/>
            <a:ext cx="4013200" cy="276626"/>
            <a:chOff x="174945" y="783744"/>
            <a:chExt cx="4012406" cy="278294"/>
          </a:xfrm>
        </p:grpSpPr>
        <p:cxnSp>
          <p:nvCxnSpPr>
            <p:cNvPr id="7" name="AutoShape 249"/>
            <p:cNvCxnSpPr>
              <a:cxnSpLocks noChangeShapeType="1"/>
            </p:cNvCxnSpPr>
            <p:nvPr/>
          </p:nvCxnSpPr>
          <p:spPr bwMode="gray">
            <a:xfrm>
              <a:off x="174945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" name="TextBox 89"/>
            <p:cNvSpPr txBox="1">
              <a:spLocks/>
            </p:cNvSpPr>
            <p:nvPr/>
          </p:nvSpPr>
          <p:spPr bwMode="gray">
            <a:xfrm>
              <a:off x="174945" y="783744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kk-KZ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СЫНЫСТАР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Group 92"/>
          <p:cNvGrpSpPr>
            <a:grpSpLocks/>
          </p:cNvGrpSpPr>
          <p:nvPr/>
        </p:nvGrpSpPr>
        <p:grpSpPr bwMode="auto">
          <a:xfrm>
            <a:off x="4999291" y="1264699"/>
            <a:ext cx="4405060" cy="277109"/>
            <a:chOff x="4728435" y="784602"/>
            <a:chExt cx="3997656" cy="277436"/>
          </a:xfrm>
        </p:grpSpPr>
        <p:sp>
          <p:nvSpPr>
            <p:cNvPr id="10" name="TextBox 94"/>
            <p:cNvSpPr txBox="1">
              <a:spLocks/>
            </p:cNvSpPr>
            <p:nvPr/>
          </p:nvSpPr>
          <p:spPr bwMode="gray">
            <a:xfrm>
              <a:off x="4728435" y="784602"/>
              <a:ext cx="3997655" cy="26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000000"/>
                </a:buClr>
                <a:buSzTx/>
              </a:pPr>
              <a:r>
                <a:rPr lang="kk-KZ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СКЕРТУ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4728436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12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V="1">
            <a:off x="4899091" y="99066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10"/>
          <p:cNvSpPr txBox="1">
            <a:spLocks/>
          </p:cNvSpPr>
          <p:nvPr/>
        </p:nvSpPr>
        <p:spPr bwMode="auto">
          <a:xfrm>
            <a:off x="255978" y="1713863"/>
            <a:ext cx="4513743" cy="339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 algn="just">
              <a:spcAft>
                <a:spcPts val="300"/>
              </a:spcAft>
              <a:buClr>
                <a:srgbClr val="0070CE"/>
              </a:buClr>
            </a:pP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ард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д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йту</a:t>
            </a: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spcAft>
                <a:spcPts val="300"/>
              </a:spcAft>
              <a:buClr>
                <a:srgbClr val="0070CE"/>
              </a:buClr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ғы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ілері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н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ы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біндег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рта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к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к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а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-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н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spcAft>
                <a:spcPts val="300"/>
              </a:spcAft>
              <a:buClr>
                <a:srgbClr val="0070CE"/>
              </a:buClr>
            </a:pPr>
            <a:endParaRPr lang="kk-KZ" alt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endParaRPr lang="kk-KZ" alt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300"/>
              </a:spcAft>
              <a:buClr>
                <a:srgbClr val="0070CE"/>
              </a:buClr>
              <a:buFont typeface="Wingdings" panose="05000000000000000000" pitchFamily="2" charset="2"/>
              <a:buChar char="§"/>
            </a:pPr>
            <a:r>
              <a:rPr lang="ru-RU" alt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ылыми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лықтард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уға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дан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,5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дегі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індегі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і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endParaRPr lang="ru-RU" altLang="ru-RU" sz="2400" i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899091" y="2350369"/>
            <a:ext cx="4740217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2022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ылғ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1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ңтардан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астап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егер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ңдеуші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неркәсіп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асындағ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шағын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бизнес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убъектілері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здерінің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за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ірістерін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ңа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егізг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орларға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йта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инвестициялауға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ағыттайтын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лса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онда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ұндай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быстарға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КТС </a:t>
            </a:r>
            <a:r>
              <a:rPr lang="ru-RU" alt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нбайды</a:t>
            </a:r>
            <a:endParaRPr lang="ru-RU" altLang="ru-RU" sz="16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algn="just" defTabSz="895350">
              <a:spcAft>
                <a:spcPts val="300"/>
              </a:spcAft>
              <a:buClr>
                <a:srgbClr val="0070CE"/>
              </a:buClr>
              <a:buSzPct val="100000"/>
            </a:pPr>
            <a:endParaRPr lang="kk-KZ" altLang="ru-RU" sz="20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іне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ҒЗТКЖ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,5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ды</a:t>
            </a:r>
            <a:endParaRPr lang="ru-RU" alt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95350">
              <a:spcAft>
                <a:spcPts val="300"/>
              </a:spcAft>
              <a:buClr>
                <a:srgbClr val="0070CE"/>
              </a:buClr>
              <a:buSzPct val="100000"/>
            </a:pPr>
            <a:endParaRPr lang="kk-KZ" altLang="ru-RU" sz="16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ru-RU" altLang="ru-RU" sz="1600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9693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7CE4D-4D49-4395-B4EF-C453F2531993}" type="slidenum">
              <a:rPr lang="ru-RU" smtClean="0"/>
              <a:t>8</a:t>
            </a:fld>
            <a:endParaRPr lang="ru-RU"/>
          </a:p>
        </p:txBody>
      </p:sp>
      <p:cxnSp>
        <p:nvCxnSpPr>
          <p:cNvPr id="3" name="Straight Connector 32"/>
          <p:cNvCxnSpPr/>
          <p:nvPr/>
        </p:nvCxnSpPr>
        <p:spPr>
          <a:xfrm flipV="1">
            <a:off x="0" y="880382"/>
            <a:ext cx="9906000" cy="11793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28C6EF65-BF0E-4F2B-815C-A758B4059766}"/>
              </a:ext>
            </a:extLst>
          </p:cNvPr>
          <p:cNvSpPr txBox="1">
            <a:spLocks/>
          </p:cNvSpPr>
          <p:nvPr/>
        </p:nvSpPr>
        <p:spPr bwMode="gray">
          <a:xfrm>
            <a:off x="107950" y="98425"/>
            <a:ext cx="9798050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58775">
              <a:defRPr/>
            </a:pPr>
            <a:r>
              <a:rPr lang="ru-RU" sz="2000" b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УЛЫ </a:t>
            </a:r>
            <a:r>
              <a:rPr lang="ru-RU" sz="2000" b="1" dirty="0" smtClean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РЕЖИМДЕРІН ОҢТАЙЛАНДЫРУ</a:t>
            </a:r>
            <a:endParaRPr lang="ru-RU" sz="2000" b="1" dirty="0">
              <a:solidFill>
                <a:srgbClr val="0070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82"/>
          <p:cNvGrpSpPr>
            <a:grpSpLocks/>
          </p:cNvGrpSpPr>
          <p:nvPr/>
        </p:nvGrpSpPr>
        <p:grpSpPr bwMode="auto">
          <a:xfrm>
            <a:off x="288925" y="1091798"/>
            <a:ext cx="4013200" cy="276626"/>
            <a:chOff x="174945" y="783744"/>
            <a:chExt cx="4012406" cy="278294"/>
          </a:xfrm>
        </p:grpSpPr>
        <p:cxnSp>
          <p:nvCxnSpPr>
            <p:cNvPr id="6" name="AutoShape 249"/>
            <p:cNvCxnSpPr>
              <a:cxnSpLocks noChangeShapeType="1"/>
            </p:cNvCxnSpPr>
            <p:nvPr/>
          </p:nvCxnSpPr>
          <p:spPr bwMode="gray">
            <a:xfrm>
              <a:off x="174945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TextBox 89"/>
            <p:cNvSpPr txBox="1">
              <a:spLocks/>
            </p:cNvSpPr>
            <p:nvPr/>
          </p:nvSpPr>
          <p:spPr bwMode="gray">
            <a:xfrm>
              <a:off x="174945" y="783744"/>
              <a:ext cx="4012406" cy="2616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kk-KZ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СЫНЫСТАР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92"/>
          <p:cNvGrpSpPr>
            <a:grpSpLocks/>
          </p:cNvGrpSpPr>
          <p:nvPr/>
        </p:nvGrpSpPr>
        <p:grpSpPr bwMode="auto">
          <a:xfrm>
            <a:off x="5407025" y="1102328"/>
            <a:ext cx="3997325" cy="277109"/>
            <a:chOff x="4728435" y="784602"/>
            <a:chExt cx="3997656" cy="277436"/>
          </a:xfrm>
        </p:grpSpPr>
        <p:sp>
          <p:nvSpPr>
            <p:cNvPr id="9" name="TextBox 94"/>
            <p:cNvSpPr txBox="1">
              <a:spLocks/>
            </p:cNvSpPr>
            <p:nvPr/>
          </p:nvSpPr>
          <p:spPr bwMode="gray">
            <a:xfrm>
              <a:off x="4728435" y="784602"/>
              <a:ext cx="3997655" cy="26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16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СКЕРТУ</a:t>
              </a:r>
              <a:endParaRPr lang="ru-RU" altLang="ru-RU" sz="16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" name="AutoShape 249"/>
            <p:cNvCxnSpPr>
              <a:cxnSpLocks noChangeShapeType="1"/>
            </p:cNvCxnSpPr>
            <p:nvPr/>
          </p:nvCxnSpPr>
          <p:spPr bwMode="gray">
            <a:xfrm>
              <a:off x="4728436" y="1062038"/>
              <a:ext cx="3997655" cy="0"/>
            </a:xfrm>
            <a:prstGeom prst="straightConnector1">
              <a:avLst/>
            </a:prstGeom>
            <a:noFill/>
            <a:ln w="12700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" name="Прямоугольник 10"/>
          <p:cNvSpPr/>
          <p:nvPr/>
        </p:nvSpPr>
        <p:spPr>
          <a:xfrm>
            <a:off x="0" y="1466911"/>
            <a:ext cx="4899091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Ұқсас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шарттары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бар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режимдерд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біріктіру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(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мысал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, мобильді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осым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пайдаланылаты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 </a:t>
            </a:r>
            <a:r>
              <a:rPr lang="kk-KZ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АСР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әне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патент </a:t>
            </a:r>
            <a:r>
              <a:rPr lang="en-US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)</a:t>
            </a:r>
            <a:endParaRPr lang="ru-RU" sz="1600" i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Gill Sans" charset="0"/>
            </a:endParaRP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Талап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етілмеге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режимдерд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ою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/>
            </a:r>
            <a:b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</a:b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(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мысал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,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тіркелг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шегерім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режим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)</a:t>
            </a:r>
          </a:p>
          <a:p>
            <a:pPr marL="177800" indent="-177800" algn="just" defTabSz="895350">
              <a:spcBef>
                <a:spcPts val="600"/>
              </a:spcBef>
              <a:spcAft>
                <a:spcPts val="3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Нақт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олдан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деректері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ескер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отырып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режимдерд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олдан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шарттары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айта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арау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(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қызметкерле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саны,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ең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жоғар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айналым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  <a:sym typeface="Gill Sans" charset="0"/>
              </a:rPr>
              <a:t>)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957516" y="1422684"/>
            <a:ext cx="469923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тігі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лері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желері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еулер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д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дер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ңдау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ын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ындықт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ғызады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3">
            <a:extLst>
              <a:ext uri="{FF2B5EF4-FFF2-40B4-BE49-F238E27FC236}">
                <a16:creationId xmlns:a16="http://schemas.microsoft.com/office/drawing/2014/main" id="{FE4EC492-63A9-4CE7-9E29-448E0ACBBD10}"/>
              </a:ext>
            </a:extLst>
          </p:cNvPr>
          <p:cNvCxnSpPr>
            <a:cxnSpLocks/>
          </p:cNvCxnSpPr>
          <p:nvPr/>
        </p:nvCxnSpPr>
        <p:spPr>
          <a:xfrm flipV="1">
            <a:off x="4957516" y="99066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2271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Djshc8vKUyxkb8Ubap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912</TotalTime>
  <Words>1031</Words>
  <Application>Microsoft Office PowerPoint</Application>
  <PresentationFormat>Лист A4 (210x297 мм)</PresentationFormat>
  <Paragraphs>161</Paragraphs>
  <Slides>1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2" baseType="lpstr">
      <vt:lpstr>ＭＳ Ｐゴシック</vt:lpstr>
      <vt:lpstr>Arial</vt:lpstr>
      <vt:lpstr>Calibri</vt:lpstr>
      <vt:lpstr>Calibri Light</vt:lpstr>
      <vt:lpstr>Gill Sans</vt:lpstr>
      <vt:lpstr>Segoe UI Black</vt:lpstr>
      <vt:lpstr>Segoe UI Light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НЕГІЗГІ САЛЫҚ МӨЛШЕРЛЕМЕЛЕРІН САЛЫСТЫРМАЛЫ ТАЛДА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урлыбек Шаймаханов</dc:creator>
  <cp:lastModifiedBy>Карина Лазарева</cp:lastModifiedBy>
  <cp:revision>241</cp:revision>
  <cp:lastPrinted>2023-05-02T09:41:20Z</cp:lastPrinted>
  <dcterms:created xsi:type="dcterms:W3CDTF">2022-08-19T08:49:13Z</dcterms:created>
  <dcterms:modified xsi:type="dcterms:W3CDTF">2023-05-03T05:19:18Z</dcterms:modified>
</cp:coreProperties>
</file>